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D1C68E-3DA9-4A95-AE1C-86404D6B18DC}" v="73" dt="2023-03-05T14:49:16.6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555" y="48"/>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8AD1C68E-3DA9-4A95-AE1C-86404D6B18DC}"/>
    <pc:docChg chg="custSel addSld delSld modSld">
      <pc:chgData name="Roberto Gallardo" userId="49a044883f185952" providerId="LiveId" clId="{8AD1C68E-3DA9-4A95-AE1C-86404D6B18DC}" dt="2023-03-05T14:49:28.498" v="403" actId="1076"/>
      <pc:docMkLst>
        <pc:docMk/>
      </pc:docMkLst>
      <pc:sldChg chg="del">
        <pc:chgData name="Roberto Gallardo" userId="49a044883f185952" providerId="LiveId" clId="{8AD1C68E-3DA9-4A95-AE1C-86404D6B18DC}" dt="2023-02-25T14:51:13.814" v="183" actId="47"/>
        <pc:sldMkLst>
          <pc:docMk/>
          <pc:sldMk cId="1175010214" sldId="261"/>
        </pc:sldMkLst>
      </pc:sldChg>
      <pc:sldChg chg="addSp delSp modSp mod">
        <pc:chgData name="Roberto Gallardo" userId="49a044883f185952" providerId="LiveId" clId="{8AD1C68E-3DA9-4A95-AE1C-86404D6B18DC}" dt="2023-03-05T14:42:51.180" v="217" actId="1036"/>
        <pc:sldMkLst>
          <pc:docMk/>
          <pc:sldMk cId="1418533539" sldId="271"/>
        </pc:sldMkLst>
        <pc:picChg chg="add mod">
          <ac:chgData name="Roberto Gallardo" userId="49a044883f185952" providerId="LiveId" clId="{8AD1C68E-3DA9-4A95-AE1C-86404D6B18DC}" dt="2023-03-05T14:42:51.180" v="217" actId="1036"/>
          <ac:picMkLst>
            <pc:docMk/>
            <pc:sldMk cId="1418533539" sldId="271"/>
            <ac:picMk id="6" creationId="{5A680D28-31A8-C2D5-E80E-55614E3706B7}"/>
          </ac:picMkLst>
        </pc:picChg>
        <pc:picChg chg="add del mod">
          <ac:chgData name="Roberto Gallardo" userId="49a044883f185952" providerId="LiveId" clId="{8AD1C68E-3DA9-4A95-AE1C-86404D6B18DC}" dt="2023-03-05T14:10:26.131" v="184" actId="478"/>
          <ac:picMkLst>
            <pc:docMk/>
            <pc:sldMk cId="1418533539" sldId="271"/>
            <ac:picMk id="6" creationId="{C46B4FC0-0629-2125-1D0D-2A4B100ECDA7}"/>
          </ac:picMkLst>
        </pc:picChg>
      </pc:sldChg>
      <pc:sldChg chg="addSp delSp modSp mod">
        <pc:chgData name="Roberto Gallardo" userId="49a044883f185952" providerId="LiveId" clId="{8AD1C68E-3DA9-4A95-AE1C-86404D6B18DC}" dt="2023-03-05T14:45:07.690" v="278" actId="1076"/>
        <pc:sldMkLst>
          <pc:docMk/>
          <pc:sldMk cId="2124848710" sldId="281"/>
        </pc:sldMkLst>
        <pc:picChg chg="add mod">
          <ac:chgData name="Roberto Gallardo" userId="49a044883f185952" providerId="LiveId" clId="{8AD1C68E-3DA9-4A95-AE1C-86404D6B18DC}" dt="2023-03-05T14:45:07.690" v="278" actId="1076"/>
          <ac:picMkLst>
            <pc:docMk/>
            <pc:sldMk cId="2124848710" sldId="281"/>
            <ac:picMk id="6" creationId="{702C0432-CC5C-A2B8-907C-13649B21BA61}"/>
          </ac:picMkLst>
        </pc:picChg>
        <pc:picChg chg="add del mod">
          <ac:chgData name="Roberto Gallardo" userId="49a044883f185952" providerId="LiveId" clId="{8AD1C68E-3DA9-4A95-AE1C-86404D6B18DC}" dt="2023-03-05T14:10:45.619" v="190" actId="478"/>
          <ac:picMkLst>
            <pc:docMk/>
            <pc:sldMk cId="2124848710" sldId="281"/>
            <ac:picMk id="6" creationId="{ADCD8BED-42E5-A4CA-F3B4-D9F4D8E60C8C}"/>
          </ac:picMkLst>
        </pc:picChg>
      </pc:sldChg>
      <pc:sldChg chg="addSp delSp modSp mod">
        <pc:chgData name="Roberto Gallardo" userId="49a044883f185952" providerId="LiveId" clId="{8AD1C68E-3DA9-4A95-AE1C-86404D6B18DC}" dt="2023-03-05T14:45:36.083" v="290" actId="1076"/>
        <pc:sldMkLst>
          <pc:docMk/>
          <pc:sldMk cId="2028175529" sldId="282"/>
        </pc:sldMkLst>
        <pc:picChg chg="add mod">
          <ac:chgData name="Roberto Gallardo" userId="49a044883f185952" providerId="LiveId" clId="{8AD1C68E-3DA9-4A95-AE1C-86404D6B18DC}" dt="2023-03-05T14:45:36.083" v="290" actId="1076"/>
          <ac:picMkLst>
            <pc:docMk/>
            <pc:sldMk cId="2028175529" sldId="282"/>
            <ac:picMk id="7" creationId="{678D7158-F613-B778-A4F4-B2249A147234}"/>
          </ac:picMkLst>
        </pc:picChg>
        <pc:picChg chg="add del mod">
          <ac:chgData name="Roberto Gallardo" userId="49a044883f185952" providerId="LiveId" clId="{8AD1C68E-3DA9-4A95-AE1C-86404D6B18DC}" dt="2023-03-05T14:10:47.569" v="191" actId="478"/>
          <ac:picMkLst>
            <pc:docMk/>
            <pc:sldMk cId="2028175529" sldId="282"/>
            <ac:picMk id="7" creationId="{B8D7ABAD-A3AE-A3F5-7219-D562BAFC8399}"/>
          </ac:picMkLst>
        </pc:picChg>
      </pc:sldChg>
      <pc:sldChg chg="addSp delSp modSp mod">
        <pc:chgData name="Roberto Gallardo" userId="49a044883f185952" providerId="LiveId" clId="{8AD1C68E-3DA9-4A95-AE1C-86404D6B18DC}" dt="2023-03-05T14:45:59.418" v="300" actId="1076"/>
        <pc:sldMkLst>
          <pc:docMk/>
          <pc:sldMk cId="1326517747" sldId="283"/>
        </pc:sldMkLst>
        <pc:picChg chg="add mod">
          <ac:chgData name="Roberto Gallardo" userId="49a044883f185952" providerId="LiveId" clId="{8AD1C68E-3DA9-4A95-AE1C-86404D6B18DC}" dt="2023-03-05T14:45:59.418" v="300" actId="1076"/>
          <ac:picMkLst>
            <pc:docMk/>
            <pc:sldMk cId="1326517747" sldId="283"/>
            <ac:picMk id="7" creationId="{E27A5A13-73B4-E744-3DD2-AC3B5EE27FF0}"/>
          </ac:picMkLst>
        </pc:picChg>
        <pc:picChg chg="add del mod">
          <ac:chgData name="Roberto Gallardo" userId="49a044883f185952" providerId="LiveId" clId="{8AD1C68E-3DA9-4A95-AE1C-86404D6B18DC}" dt="2023-03-05T14:10:48.935" v="192" actId="478"/>
          <ac:picMkLst>
            <pc:docMk/>
            <pc:sldMk cId="1326517747" sldId="283"/>
            <ac:picMk id="7" creationId="{E7BC8C67-7019-9FAD-66D8-365729CD6282}"/>
          </ac:picMkLst>
        </pc:picChg>
      </pc:sldChg>
      <pc:sldChg chg="addSp delSp modSp mod">
        <pc:chgData name="Roberto Gallardo" userId="49a044883f185952" providerId="LiveId" clId="{8AD1C68E-3DA9-4A95-AE1C-86404D6B18DC}" dt="2023-03-05T14:46:13.658" v="309" actId="1076"/>
        <pc:sldMkLst>
          <pc:docMk/>
          <pc:sldMk cId="783739251" sldId="284"/>
        </pc:sldMkLst>
        <pc:picChg chg="add mod">
          <ac:chgData name="Roberto Gallardo" userId="49a044883f185952" providerId="LiveId" clId="{8AD1C68E-3DA9-4A95-AE1C-86404D6B18DC}" dt="2023-03-05T14:46:13.658" v="309" actId="1076"/>
          <ac:picMkLst>
            <pc:docMk/>
            <pc:sldMk cId="783739251" sldId="284"/>
            <ac:picMk id="7" creationId="{137E4CE7-6C0E-2195-E7F3-2D4FF4EEEC64}"/>
          </ac:picMkLst>
        </pc:picChg>
        <pc:picChg chg="add del mod">
          <ac:chgData name="Roberto Gallardo" userId="49a044883f185952" providerId="LiveId" clId="{8AD1C68E-3DA9-4A95-AE1C-86404D6B18DC}" dt="2023-03-05T14:10:50.902" v="193" actId="478"/>
          <ac:picMkLst>
            <pc:docMk/>
            <pc:sldMk cId="783739251" sldId="284"/>
            <ac:picMk id="7" creationId="{48B8DFC4-11ED-2F30-9BDB-2F057609BBBF}"/>
          </ac:picMkLst>
        </pc:picChg>
      </pc:sldChg>
      <pc:sldChg chg="addSp delSp modSp mod">
        <pc:chgData name="Roberto Gallardo" userId="49a044883f185952" providerId="LiveId" clId="{8AD1C68E-3DA9-4A95-AE1C-86404D6B18DC}" dt="2023-03-05T14:46:30.130" v="319" actId="1076"/>
        <pc:sldMkLst>
          <pc:docMk/>
          <pc:sldMk cId="1676122233" sldId="285"/>
        </pc:sldMkLst>
        <pc:picChg chg="add del mod">
          <ac:chgData name="Roberto Gallardo" userId="49a044883f185952" providerId="LiveId" clId="{8AD1C68E-3DA9-4A95-AE1C-86404D6B18DC}" dt="2023-03-05T14:10:52.145" v="194" actId="478"/>
          <ac:picMkLst>
            <pc:docMk/>
            <pc:sldMk cId="1676122233" sldId="285"/>
            <ac:picMk id="7" creationId="{695BA7BA-61F9-8BCC-5A46-04C784BA5536}"/>
          </ac:picMkLst>
        </pc:picChg>
        <pc:picChg chg="add mod">
          <ac:chgData name="Roberto Gallardo" userId="49a044883f185952" providerId="LiveId" clId="{8AD1C68E-3DA9-4A95-AE1C-86404D6B18DC}" dt="2023-03-05T14:46:30.130" v="319" actId="1076"/>
          <ac:picMkLst>
            <pc:docMk/>
            <pc:sldMk cId="1676122233" sldId="285"/>
            <ac:picMk id="7" creationId="{8DB157F0-F28A-7BBB-F00C-2FE00A0D6602}"/>
          </ac:picMkLst>
        </pc:picChg>
      </pc:sldChg>
      <pc:sldChg chg="addSp delSp modSp mod">
        <pc:chgData name="Roberto Gallardo" userId="49a044883f185952" providerId="LiveId" clId="{8AD1C68E-3DA9-4A95-AE1C-86404D6B18DC}" dt="2023-03-05T14:47:11.490" v="329" actId="1076"/>
        <pc:sldMkLst>
          <pc:docMk/>
          <pc:sldMk cId="3100398757" sldId="286"/>
        </pc:sldMkLst>
        <pc:picChg chg="add del mod">
          <ac:chgData name="Roberto Gallardo" userId="49a044883f185952" providerId="LiveId" clId="{8AD1C68E-3DA9-4A95-AE1C-86404D6B18DC}" dt="2023-03-05T14:10:54.018" v="195" actId="478"/>
          <ac:picMkLst>
            <pc:docMk/>
            <pc:sldMk cId="3100398757" sldId="286"/>
            <ac:picMk id="7" creationId="{75F4CDCA-99A4-F53F-BBC8-51F44F895B24}"/>
          </ac:picMkLst>
        </pc:picChg>
        <pc:picChg chg="add mod">
          <ac:chgData name="Roberto Gallardo" userId="49a044883f185952" providerId="LiveId" clId="{8AD1C68E-3DA9-4A95-AE1C-86404D6B18DC}" dt="2023-03-05T14:47:11.490" v="329" actId="1076"/>
          <ac:picMkLst>
            <pc:docMk/>
            <pc:sldMk cId="3100398757" sldId="286"/>
            <ac:picMk id="7" creationId="{C5DF88B9-2F83-FC78-59A0-AFF944EE7B69}"/>
          </ac:picMkLst>
        </pc:picChg>
      </pc:sldChg>
      <pc:sldChg chg="addSp delSp modSp mod">
        <pc:chgData name="Roberto Gallardo" userId="49a044883f185952" providerId="LiveId" clId="{8AD1C68E-3DA9-4A95-AE1C-86404D6B18DC}" dt="2023-03-05T14:47:28.669" v="339" actId="1076"/>
        <pc:sldMkLst>
          <pc:docMk/>
          <pc:sldMk cId="1546475425" sldId="287"/>
        </pc:sldMkLst>
        <pc:picChg chg="add del mod">
          <ac:chgData name="Roberto Gallardo" userId="49a044883f185952" providerId="LiveId" clId="{8AD1C68E-3DA9-4A95-AE1C-86404D6B18DC}" dt="2023-03-05T14:10:55.974" v="196" actId="478"/>
          <ac:picMkLst>
            <pc:docMk/>
            <pc:sldMk cId="1546475425" sldId="287"/>
            <ac:picMk id="7" creationId="{474C701C-E229-ECCC-9685-718B0886F101}"/>
          </ac:picMkLst>
        </pc:picChg>
        <pc:picChg chg="add mod">
          <ac:chgData name="Roberto Gallardo" userId="49a044883f185952" providerId="LiveId" clId="{8AD1C68E-3DA9-4A95-AE1C-86404D6B18DC}" dt="2023-03-05T14:47:28.669" v="339" actId="1076"/>
          <ac:picMkLst>
            <pc:docMk/>
            <pc:sldMk cId="1546475425" sldId="287"/>
            <ac:picMk id="7" creationId="{EFF81304-F161-A385-7CC9-EA37DEF60CAB}"/>
          </ac:picMkLst>
        </pc:picChg>
      </pc:sldChg>
      <pc:sldChg chg="addSp delSp modSp mod">
        <pc:chgData name="Roberto Gallardo" userId="49a044883f185952" providerId="LiveId" clId="{8AD1C68E-3DA9-4A95-AE1C-86404D6B18DC}" dt="2023-03-05T14:48:07.650" v="361" actId="1076"/>
        <pc:sldMkLst>
          <pc:docMk/>
          <pc:sldMk cId="1380517306" sldId="288"/>
        </pc:sldMkLst>
        <pc:picChg chg="add mod">
          <ac:chgData name="Roberto Gallardo" userId="49a044883f185952" providerId="LiveId" clId="{8AD1C68E-3DA9-4A95-AE1C-86404D6B18DC}" dt="2023-03-05T14:48:07.650" v="361" actId="1076"/>
          <ac:picMkLst>
            <pc:docMk/>
            <pc:sldMk cId="1380517306" sldId="288"/>
            <ac:picMk id="7" creationId="{21C1AA9F-99CC-478A-8FDC-F96095306D4E}"/>
          </ac:picMkLst>
        </pc:picChg>
        <pc:picChg chg="add del mod">
          <ac:chgData name="Roberto Gallardo" userId="49a044883f185952" providerId="LiveId" clId="{8AD1C68E-3DA9-4A95-AE1C-86404D6B18DC}" dt="2023-03-05T14:11:00.677" v="198" actId="478"/>
          <ac:picMkLst>
            <pc:docMk/>
            <pc:sldMk cId="1380517306" sldId="288"/>
            <ac:picMk id="7" creationId="{ACD8302B-D030-002E-FBD2-AAD9293BAEEA}"/>
          </ac:picMkLst>
        </pc:picChg>
      </pc:sldChg>
      <pc:sldChg chg="addSp delSp modSp mod">
        <pc:chgData name="Roberto Gallardo" userId="49a044883f185952" providerId="LiveId" clId="{8AD1C68E-3DA9-4A95-AE1C-86404D6B18DC}" dt="2023-03-05T14:48:24.284" v="369" actId="1076"/>
        <pc:sldMkLst>
          <pc:docMk/>
          <pc:sldMk cId="1388671151" sldId="289"/>
        </pc:sldMkLst>
        <pc:picChg chg="add del mod">
          <ac:chgData name="Roberto Gallardo" userId="49a044883f185952" providerId="LiveId" clId="{8AD1C68E-3DA9-4A95-AE1C-86404D6B18DC}" dt="2023-03-05T14:11:02.502" v="199" actId="478"/>
          <ac:picMkLst>
            <pc:docMk/>
            <pc:sldMk cId="1388671151" sldId="289"/>
            <ac:picMk id="7" creationId="{6E406EB9-1436-BB73-F725-2F5794F1729A}"/>
          </ac:picMkLst>
        </pc:picChg>
        <pc:picChg chg="add mod">
          <ac:chgData name="Roberto Gallardo" userId="49a044883f185952" providerId="LiveId" clId="{8AD1C68E-3DA9-4A95-AE1C-86404D6B18DC}" dt="2023-03-05T14:48:24.284" v="369" actId="1076"/>
          <ac:picMkLst>
            <pc:docMk/>
            <pc:sldMk cId="1388671151" sldId="289"/>
            <ac:picMk id="7" creationId="{B140A8E2-E8A3-BE00-C042-BCD8370B4BAB}"/>
          </ac:picMkLst>
        </pc:picChg>
      </pc:sldChg>
      <pc:sldChg chg="addSp delSp modSp mod">
        <pc:chgData name="Roberto Gallardo" userId="49a044883f185952" providerId="LiveId" clId="{8AD1C68E-3DA9-4A95-AE1C-86404D6B18DC}" dt="2023-03-05T14:49:09.417" v="392" actId="1076"/>
        <pc:sldMkLst>
          <pc:docMk/>
          <pc:sldMk cId="2355376039" sldId="290"/>
        </pc:sldMkLst>
        <pc:picChg chg="add mod">
          <ac:chgData name="Roberto Gallardo" userId="49a044883f185952" providerId="LiveId" clId="{8AD1C68E-3DA9-4A95-AE1C-86404D6B18DC}" dt="2023-03-05T14:49:09.417" v="392" actId="1076"/>
          <ac:picMkLst>
            <pc:docMk/>
            <pc:sldMk cId="2355376039" sldId="290"/>
            <ac:picMk id="8" creationId="{0213E930-5468-4C20-C81B-6E64D5B9E2B6}"/>
          </ac:picMkLst>
        </pc:picChg>
        <pc:picChg chg="add del mod">
          <ac:chgData name="Roberto Gallardo" userId="49a044883f185952" providerId="LiveId" clId="{8AD1C68E-3DA9-4A95-AE1C-86404D6B18DC}" dt="2023-03-05T14:11:06.276" v="201" actId="478"/>
          <ac:picMkLst>
            <pc:docMk/>
            <pc:sldMk cId="2355376039" sldId="290"/>
            <ac:picMk id="8" creationId="{7EC32CAE-194B-F259-5752-B8E25FB49555}"/>
          </ac:picMkLst>
        </pc:picChg>
      </pc:sldChg>
      <pc:sldChg chg="addSp delSp modSp mod">
        <pc:chgData name="Roberto Gallardo" userId="49a044883f185952" providerId="LiveId" clId="{8AD1C68E-3DA9-4A95-AE1C-86404D6B18DC}" dt="2023-03-05T14:49:28.498" v="403" actId="1076"/>
        <pc:sldMkLst>
          <pc:docMk/>
          <pc:sldMk cId="3757257295" sldId="291"/>
        </pc:sldMkLst>
        <pc:picChg chg="add mod">
          <ac:chgData name="Roberto Gallardo" userId="49a044883f185952" providerId="LiveId" clId="{8AD1C68E-3DA9-4A95-AE1C-86404D6B18DC}" dt="2023-03-05T14:49:28.498" v="403" actId="1076"/>
          <ac:picMkLst>
            <pc:docMk/>
            <pc:sldMk cId="3757257295" sldId="291"/>
            <ac:picMk id="8" creationId="{649661B7-F2C5-FFAF-348F-DB2F4767A185}"/>
          </ac:picMkLst>
        </pc:picChg>
        <pc:picChg chg="add del mod">
          <ac:chgData name="Roberto Gallardo" userId="49a044883f185952" providerId="LiveId" clId="{8AD1C68E-3DA9-4A95-AE1C-86404D6B18DC}" dt="2023-03-05T14:11:08.494" v="202" actId="478"/>
          <ac:picMkLst>
            <pc:docMk/>
            <pc:sldMk cId="3757257295" sldId="291"/>
            <ac:picMk id="8" creationId="{6FE4CCC0-E069-F8F4-B488-B04340C50FCC}"/>
          </ac:picMkLst>
        </pc:picChg>
      </pc:sldChg>
      <pc:sldChg chg="addSp delSp modSp mod">
        <pc:chgData name="Roberto Gallardo" userId="49a044883f185952" providerId="LiveId" clId="{8AD1C68E-3DA9-4A95-AE1C-86404D6B18DC}" dt="2023-03-05T14:47:45.632" v="348" actId="1076"/>
        <pc:sldMkLst>
          <pc:docMk/>
          <pc:sldMk cId="1259856727" sldId="292"/>
        </pc:sldMkLst>
        <pc:picChg chg="add del mod">
          <ac:chgData name="Roberto Gallardo" userId="49a044883f185952" providerId="LiveId" clId="{8AD1C68E-3DA9-4A95-AE1C-86404D6B18DC}" dt="2023-03-05T14:10:58.544" v="197" actId="478"/>
          <ac:picMkLst>
            <pc:docMk/>
            <pc:sldMk cId="1259856727" sldId="292"/>
            <ac:picMk id="7" creationId="{7A6B69EE-161E-3885-E644-C615DF824566}"/>
          </ac:picMkLst>
        </pc:picChg>
        <pc:picChg chg="add mod">
          <ac:chgData name="Roberto Gallardo" userId="49a044883f185952" providerId="LiveId" clId="{8AD1C68E-3DA9-4A95-AE1C-86404D6B18DC}" dt="2023-03-05T14:47:45.632" v="348" actId="1076"/>
          <ac:picMkLst>
            <pc:docMk/>
            <pc:sldMk cId="1259856727" sldId="292"/>
            <ac:picMk id="7" creationId="{91C74F8B-BC11-C9A9-19AD-3B76BA583E08}"/>
          </ac:picMkLst>
        </pc:picChg>
      </pc:sldChg>
      <pc:sldChg chg="addSp delSp modSp mod">
        <pc:chgData name="Roberto Gallardo" userId="49a044883f185952" providerId="LiveId" clId="{8AD1C68E-3DA9-4A95-AE1C-86404D6B18DC}" dt="2023-03-05T14:44:51.026" v="269" actId="1076"/>
        <pc:sldMkLst>
          <pc:docMk/>
          <pc:sldMk cId="3324519687" sldId="293"/>
        </pc:sldMkLst>
        <pc:picChg chg="add del mod">
          <ac:chgData name="Roberto Gallardo" userId="49a044883f185952" providerId="LiveId" clId="{8AD1C68E-3DA9-4A95-AE1C-86404D6B18DC}" dt="2023-03-05T14:10:43.838" v="189" actId="478"/>
          <ac:picMkLst>
            <pc:docMk/>
            <pc:sldMk cId="3324519687" sldId="293"/>
            <ac:picMk id="7" creationId="{8690E6B2-CC8D-690C-FD75-7685C474E0BD}"/>
          </ac:picMkLst>
        </pc:picChg>
        <pc:picChg chg="add mod">
          <ac:chgData name="Roberto Gallardo" userId="49a044883f185952" providerId="LiveId" clId="{8AD1C68E-3DA9-4A95-AE1C-86404D6B18DC}" dt="2023-03-05T14:44:51.026" v="269" actId="1076"/>
          <ac:picMkLst>
            <pc:docMk/>
            <pc:sldMk cId="3324519687" sldId="293"/>
            <ac:picMk id="7" creationId="{FF38AC51-88B3-7123-1269-EC244ED03DE7}"/>
          </ac:picMkLst>
        </pc:picChg>
      </pc:sldChg>
      <pc:sldChg chg="addSp delSp modSp mod">
        <pc:chgData name="Roberto Gallardo" userId="49a044883f185952" providerId="LiveId" clId="{8AD1C68E-3DA9-4A95-AE1C-86404D6B18DC}" dt="2023-03-05T14:44:09.348" v="250" actId="1076"/>
        <pc:sldMkLst>
          <pc:docMk/>
          <pc:sldMk cId="3256182630" sldId="295"/>
        </pc:sldMkLst>
        <pc:picChg chg="add mod">
          <ac:chgData name="Roberto Gallardo" userId="49a044883f185952" providerId="LiveId" clId="{8AD1C68E-3DA9-4A95-AE1C-86404D6B18DC}" dt="2023-03-05T14:44:09.348" v="250" actId="1076"/>
          <ac:picMkLst>
            <pc:docMk/>
            <pc:sldMk cId="3256182630" sldId="295"/>
            <ac:picMk id="7" creationId="{6A87A7A3-88EE-3CFE-5268-3D8811D72E85}"/>
          </ac:picMkLst>
        </pc:picChg>
        <pc:picChg chg="add del mod">
          <ac:chgData name="Roberto Gallardo" userId="49a044883f185952" providerId="LiveId" clId="{8AD1C68E-3DA9-4A95-AE1C-86404D6B18DC}" dt="2023-03-05T14:10:30.814" v="187" actId="478"/>
          <ac:picMkLst>
            <pc:docMk/>
            <pc:sldMk cId="3256182630" sldId="295"/>
            <ac:picMk id="7" creationId="{97CF258C-DB8C-5EA8-1EFF-CB42C6B6F3BA}"/>
          </ac:picMkLst>
        </pc:picChg>
      </pc:sldChg>
      <pc:sldChg chg="addSp delSp modSp mod">
        <pc:chgData name="Roberto Gallardo" userId="49a044883f185952" providerId="LiveId" clId="{8AD1C68E-3DA9-4A95-AE1C-86404D6B18DC}" dt="2023-03-05T14:44:33.162" v="260" actId="1076"/>
        <pc:sldMkLst>
          <pc:docMk/>
          <pc:sldMk cId="4057156843" sldId="296"/>
        </pc:sldMkLst>
        <pc:picChg chg="add mod">
          <ac:chgData name="Roberto Gallardo" userId="49a044883f185952" providerId="LiveId" clId="{8AD1C68E-3DA9-4A95-AE1C-86404D6B18DC}" dt="2023-03-05T14:44:33.162" v="260" actId="1076"/>
          <ac:picMkLst>
            <pc:docMk/>
            <pc:sldMk cId="4057156843" sldId="296"/>
            <ac:picMk id="7" creationId="{56A10229-2AD3-C4EC-8AAF-802050825FB3}"/>
          </ac:picMkLst>
        </pc:picChg>
        <pc:picChg chg="add del mod">
          <ac:chgData name="Roberto Gallardo" userId="49a044883f185952" providerId="LiveId" clId="{8AD1C68E-3DA9-4A95-AE1C-86404D6B18DC}" dt="2023-03-05T14:10:41.728" v="188" actId="478"/>
          <ac:picMkLst>
            <pc:docMk/>
            <pc:sldMk cId="4057156843" sldId="296"/>
            <ac:picMk id="7" creationId="{A3EA0CCD-C568-7D96-B27C-270F532A9A2C}"/>
          </ac:picMkLst>
        </pc:picChg>
      </pc:sldChg>
      <pc:sldChg chg="addSp delSp modSp mod">
        <pc:chgData name="Roberto Gallardo" userId="49a044883f185952" providerId="LiveId" clId="{8AD1C68E-3DA9-4A95-AE1C-86404D6B18DC}" dt="2023-03-05T14:43:50.066" v="242" actId="1076"/>
        <pc:sldMkLst>
          <pc:docMk/>
          <pc:sldMk cId="2080110827" sldId="297"/>
        </pc:sldMkLst>
        <pc:picChg chg="add mod">
          <ac:chgData name="Roberto Gallardo" userId="49a044883f185952" providerId="LiveId" clId="{8AD1C68E-3DA9-4A95-AE1C-86404D6B18DC}" dt="2023-03-05T14:43:50.066" v="242" actId="1076"/>
          <ac:picMkLst>
            <pc:docMk/>
            <pc:sldMk cId="2080110827" sldId="297"/>
            <ac:picMk id="6" creationId="{1C812A44-BBAE-D8D7-DB41-521D9703061E}"/>
          </ac:picMkLst>
        </pc:picChg>
        <pc:picChg chg="add del mod">
          <ac:chgData name="Roberto Gallardo" userId="49a044883f185952" providerId="LiveId" clId="{8AD1C68E-3DA9-4A95-AE1C-86404D6B18DC}" dt="2023-03-05T14:10:28.422" v="186" actId="478"/>
          <ac:picMkLst>
            <pc:docMk/>
            <pc:sldMk cId="2080110827" sldId="297"/>
            <ac:picMk id="6" creationId="{CC7F1D05-9B54-7E29-B0A3-8562634BBA62}"/>
          </ac:picMkLst>
        </pc:picChg>
      </pc:sldChg>
      <pc:sldChg chg="addSp delSp modSp mod">
        <pc:chgData name="Roberto Gallardo" userId="49a044883f185952" providerId="LiveId" clId="{8AD1C68E-3DA9-4A95-AE1C-86404D6B18DC}" dt="2023-03-05T14:43:25.549" v="235" actId="1036"/>
        <pc:sldMkLst>
          <pc:docMk/>
          <pc:sldMk cId="1532666867" sldId="298"/>
        </pc:sldMkLst>
        <pc:picChg chg="add del mod">
          <ac:chgData name="Roberto Gallardo" userId="49a044883f185952" providerId="LiveId" clId="{8AD1C68E-3DA9-4A95-AE1C-86404D6B18DC}" dt="2023-03-05T14:10:27.223" v="185" actId="478"/>
          <ac:picMkLst>
            <pc:docMk/>
            <pc:sldMk cId="1532666867" sldId="298"/>
            <ac:picMk id="6" creationId="{27DE05D1-2497-EFC3-41E3-D94E62BF3BD7}"/>
          </ac:picMkLst>
        </pc:picChg>
        <pc:picChg chg="add mod">
          <ac:chgData name="Roberto Gallardo" userId="49a044883f185952" providerId="LiveId" clId="{8AD1C68E-3DA9-4A95-AE1C-86404D6B18DC}" dt="2023-03-05T14:43:25.549" v="235" actId="1036"/>
          <ac:picMkLst>
            <pc:docMk/>
            <pc:sldMk cId="1532666867" sldId="298"/>
            <ac:picMk id="6" creationId="{585E2C99-5828-34C8-2A82-E98B9D5A49A4}"/>
          </ac:picMkLst>
        </pc:picChg>
      </pc:sldChg>
      <pc:sldChg chg="addSp delSp modSp mod">
        <pc:chgData name="Roberto Gallardo" userId="49a044883f185952" providerId="LiveId" clId="{8AD1C68E-3DA9-4A95-AE1C-86404D6B18DC}" dt="2023-03-05T14:48:46.686" v="382" actId="1076"/>
        <pc:sldMkLst>
          <pc:docMk/>
          <pc:sldMk cId="1951376777" sldId="299"/>
        </pc:sldMkLst>
        <pc:picChg chg="add del mod">
          <ac:chgData name="Roberto Gallardo" userId="49a044883f185952" providerId="LiveId" clId="{8AD1C68E-3DA9-4A95-AE1C-86404D6B18DC}" dt="2023-03-05T14:11:04.638" v="200" actId="478"/>
          <ac:picMkLst>
            <pc:docMk/>
            <pc:sldMk cId="1951376777" sldId="299"/>
            <ac:picMk id="7" creationId="{A647FECD-6E4F-3104-12EE-E3180A833AFD}"/>
          </ac:picMkLst>
        </pc:picChg>
        <pc:picChg chg="add mod">
          <ac:chgData name="Roberto Gallardo" userId="49a044883f185952" providerId="LiveId" clId="{8AD1C68E-3DA9-4A95-AE1C-86404D6B18DC}" dt="2023-03-05T14:48:46.686" v="382" actId="1076"/>
          <ac:picMkLst>
            <pc:docMk/>
            <pc:sldMk cId="1951376777" sldId="299"/>
            <ac:picMk id="7" creationId="{C0071BE6-3ADB-432E-A3B7-2BCA6B574B31}"/>
          </ac:picMkLst>
        </pc:picChg>
      </pc:sldChg>
      <pc:sldChg chg="modSp mod">
        <pc:chgData name="Roberto Gallardo" userId="49a044883f185952" providerId="LiveId" clId="{8AD1C68E-3DA9-4A95-AE1C-86404D6B18DC}" dt="2023-02-25T13:22:34.685" v="181" actId="20577"/>
        <pc:sldMkLst>
          <pc:docMk/>
          <pc:sldMk cId="1515423683" sldId="302"/>
        </pc:sldMkLst>
        <pc:spChg chg="mod">
          <ac:chgData name="Roberto Gallardo" userId="49a044883f185952" providerId="LiveId" clId="{8AD1C68E-3DA9-4A95-AE1C-86404D6B18DC}" dt="2023-02-25T13:22:34.685" v="181" actId="20577"/>
          <ac:spMkLst>
            <pc:docMk/>
            <pc:sldMk cId="1515423683" sldId="302"/>
            <ac:spMk id="5" creationId="{6AE302AC-8931-4144-BE52-DD1A8BA82462}"/>
          </ac:spMkLst>
        </pc:spChg>
        <pc:spChg chg="mod">
          <ac:chgData name="Roberto Gallardo" userId="49a044883f185952" providerId="LiveId" clId="{8AD1C68E-3DA9-4A95-AE1C-86404D6B18DC}" dt="2023-02-25T13:22:30.735" v="180" actId="20577"/>
          <ac:spMkLst>
            <pc:docMk/>
            <pc:sldMk cId="1515423683" sldId="302"/>
            <ac:spMk id="9" creationId="{E362A98F-7DCD-C67C-23CE-1BE182A133B4}"/>
          </ac:spMkLst>
        </pc:spChg>
      </pc:sldChg>
      <pc:sldChg chg="del">
        <pc:chgData name="Roberto Gallardo" userId="49a044883f185952" providerId="LiveId" clId="{8AD1C68E-3DA9-4A95-AE1C-86404D6B18DC}" dt="2023-02-25T14:51:13.814" v="183" actId="47"/>
        <pc:sldMkLst>
          <pc:docMk/>
          <pc:sldMk cId="2841628872" sldId="303"/>
        </pc:sldMkLst>
      </pc:sldChg>
      <pc:sldChg chg="del">
        <pc:chgData name="Roberto Gallardo" userId="49a044883f185952" providerId="LiveId" clId="{8AD1C68E-3DA9-4A95-AE1C-86404D6B18DC}" dt="2023-02-25T14:51:13.814" v="183" actId="47"/>
        <pc:sldMkLst>
          <pc:docMk/>
          <pc:sldMk cId="3084076302" sldId="304"/>
        </pc:sldMkLst>
      </pc:sldChg>
      <pc:sldChg chg="del">
        <pc:chgData name="Roberto Gallardo" userId="49a044883f185952" providerId="LiveId" clId="{8AD1C68E-3DA9-4A95-AE1C-86404D6B18DC}" dt="2023-02-25T14:51:13.814" v="183" actId="47"/>
        <pc:sldMkLst>
          <pc:docMk/>
          <pc:sldMk cId="473712435" sldId="305"/>
        </pc:sldMkLst>
      </pc:sldChg>
      <pc:sldChg chg="add">
        <pc:chgData name="Roberto Gallardo" userId="49a044883f185952" providerId="LiveId" clId="{8AD1C68E-3DA9-4A95-AE1C-86404D6B18DC}" dt="2023-02-25T14:51:10.830" v="182"/>
        <pc:sldMkLst>
          <pc:docMk/>
          <pc:sldMk cId="494631404" sldId="307"/>
        </pc:sldMkLst>
      </pc:sldChg>
      <pc:sldChg chg="add">
        <pc:chgData name="Roberto Gallardo" userId="49a044883f185952" providerId="LiveId" clId="{8AD1C68E-3DA9-4A95-AE1C-86404D6B18DC}" dt="2023-02-25T14:51:10.830" v="182"/>
        <pc:sldMkLst>
          <pc:docMk/>
          <pc:sldMk cId="3860571268" sldId="308"/>
        </pc:sldMkLst>
      </pc:sldChg>
      <pc:sldChg chg="add">
        <pc:chgData name="Roberto Gallardo" userId="49a044883f185952" providerId="LiveId" clId="{8AD1C68E-3DA9-4A95-AE1C-86404D6B18DC}" dt="2023-02-25T14:51:10.830" v="182"/>
        <pc:sldMkLst>
          <pc:docMk/>
          <pc:sldMk cId="2242803607" sldId="309"/>
        </pc:sldMkLst>
      </pc:sldChg>
      <pc:sldChg chg="add">
        <pc:chgData name="Roberto Gallardo" userId="49a044883f185952" providerId="LiveId" clId="{8AD1C68E-3DA9-4A95-AE1C-86404D6B18DC}" dt="2023-02-25T14:51:10.830" v="182"/>
        <pc:sldMkLst>
          <pc:docMk/>
          <pc:sldMk cId="997901558"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Lincol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E9DF0F9-9BC9-F24B-945F-B53D53D371D3}"/>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2428036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35D019E0-2021-CB23-6CF4-C48F3FB850D0}"/>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9979015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10;&#10;Description automatically generated">
            <a:extLst>
              <a:ext uri="{FF2B5EF4-FFF2-40B4-BE49-F238E27FC236}">
                <a16:creationId xmlns:a16="http://schemas.microsoft.com/office/drawing/2014/main" id="{5A680D28-31A8-C2D5-E80E-55614E3706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1" y="1036813"/>
            <a:ext cx="7596757"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585E2C99-5828-34C8-2A82-E98B9D5A49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1710" y="1039321"/>
            <a:ext cx="7612380" cy="5383149"/>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1C812A44-BBAE-D8D7-DB41-521D970306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40E0CC0-EC9A-5FE1-CD60-A3DE3FA9135A}"/>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10;&#10;Description automatically generated">
            <a:extLst>
              <a:ext uri="{FF2B5EF4-FFF2-40B4-BE49-F238E27FC236}">
                <a16:creationId xmlns:a16="http://schemas.microsoft.com/office/drawing/2014/main" id="{6A87A7A3-88EE-3CFE-5268-3D8811D72E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49"/>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B2CA3184-C8EE-0155-D0A2-2CBF0DFE6E0D}"/>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10;&#10;Description automatically generated">
            <a:extLst>
              <a:ext uri="{FF2B5EF4-FFF2-40B4-BE49-F238E27FC236}">
                <a16:creationId xmlns:a16="http://schemas.microsoft.com/office/drawing/2014/main" id="{56A10229-2AD3-C4EC-8AAF-802050825F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3464"/>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E5FA437A-5F1B-274F-3F39-D89A5E81964D}"/>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Diagram&#10;&#10;Description automatically generated">
            <a:extLst>
              <a:ext uri="{FF2B5EF4-FFF2-40B4-BE49-F238E27FC236}">
                <a16:creationId xmlns:a16="http://schemas.microsoft.com/office/drawing/2014/main" id="{FF38AC51-88B3-7123-1269-EC244ED03D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1EB7786-26EF-D066-7F76-FD9046EBAD2D}"/>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10;&#10;Description automatically generated">
            <a:extLst>
              <a:ext uri="{FF2B5EF4-FFF2-40B4-BE49-F238E27FC236}">
                <a16:creationId xmlns:a16="http://schemas.microsoft.com/office/drawing/2014/main" id="{702C0432-CC5C-A2B8-907C-13649B21BA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670"/>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0A012BF2-E1FA-C61B-68FB-61B21BF3769A}"/>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text, umbrella, accessory&#10;&#10;Description automatically generated">
            <a:extLst>
              <a:ext uri="{FF2B5EF4-FFF2-40B4-BE49-F238E27FC236}">
                <a16:creationId xmlns:a16="http://schemas.microsoft.com/office/drawing/2014/main" id="{678D7158-F613-B778-A4F4-B2249A1472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811"/>
            <a:ext cx="6419617" cy="4539678"/>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66B689BB-E1B6-16AB-0679-E54EB4C51B20}"/>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E27A5A13-73B4-E744-3DD2-AC3B5EE27F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0207"/>
            <a:ext cx="6404826" cy="4529219"/>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B5B82BFB-2090-976B-155E-9F3A3033E562}"/>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with medium confidence">
            <a:extLst>
              <a:ext uri="{FF2B5EF4-FFF2-40B4-BE49-F238E27FC236}">
                <a16:creationId xmlns:a16="http://schemas.microsoft.com/office/drawing/2014/main" id="{137E4CE7-6C0E-2195-E7F3-2D4FF4EEEC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4754" y="1418022"/>
            <a:ext cx="6394847" cy="452216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20331F44-93DB-E385-8C23-AB5CCAE480F1}"/>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text, accessory&#10;&#10;Description automatically generated">
            <a:extLst>
              <a:ext uri="{FF2B5EF4-FFF2-40B4-BE49-F238E27FC236}">
                <a16:creationId xmlns:a16="http://schemas.microsoft.com/office/drawing/2014/main" id="{8DB157F0-F28A-7BBB-F00C-2FE00A0D66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881" y="1408701"/>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2466307A-4A7F-C362-BC85-826E721CB75D}"/>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C5DF88B9-2F83-FC78-59A0-AFF944EE7B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9520" y="1426080"/>
            <a:ext cx="6389605" cy="4518455"/>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AC8B625A-2837-7E38-3EE9-BEDEB02071AD}"/>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EFF81304-F161-A385-7CC9-EA37DEF60C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C7356CD2-864B-7D66-35AA-EEDAE615CB80}"/>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91C74F8B-BC11-C9A9-19AD-3B76BA583E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4542"/>
            <a:ext cx="6407106" cy="453083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83D15821-5071-165D-740E-6037AA100DDF}"/>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21C1AA9F-99CC-478A-8FDC-F96095306D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3166"/>
            <a:ext cx="6367528" cy="4502843"/>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BC744B0A-11CB-68BB-EE4C-6A762CC48F58}"/>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B140A8E2-E8A3-BE00-C042-BCD8370B4B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1140" y="1412407"/>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106F75FD-AB9F-4890-5DDF-08ADC8070F80}"/>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10;&#10;Description automatically generated">
            <a:extLst>
              <a:ext uri="{FF2B5EF4-FFF2-40B4-BE49-F238E27FC236}">
                <a16:creationId xmlns:a16="http://schemas.microsoft.com/office/drawing/2014/main" id="{C0071BE6-3ADB-432E-A3B7-2BCA6B574B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F8DC4EFE-50F3-B8E6-7F95-FD20DB90E4FB}"/>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10;&#10;Description automatically generated">
            <a:extLst>
              <a:ext uri="{FF2B5EF4-FFF2-40B4-BE49-F238E27FC236}">
                <a16:creationId xmlns:a16="http://schemas.microsoft.com/office/drawing/2014/main" id="{0213E930-5468-4C20-C81B-6E64D5B9E2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147"/>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A5F32785-6EB8-71DC-D862-7B98387E3B93}"/>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7424AD9D-567E-2CDD-1450-18B736D1ECCA}"/>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10;&#10;Description automatically generated">
            <a:extLst>
              <a:ext uri="{FF2B5EF4-FFF2-40B4-BE49-F238E27FC236}">
                <a16:creationId xmlns:a16="http://schemas.microsoft.com/office/drawing/2014/main" id="{649661B7-F2C5-FFAF-348F-DB2F4767A1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8762"/>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AF343408-35A7-5C86-86ED-24CD5AB50DEF}"/>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FD6E03D-5EA1-C436-A86C-BB4A14AB481D}"/>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23D5837-63EC-E178-5E9C-351D8BB66989}"/>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08861" y="1812324"/>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1</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9921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27315" y="2289476"/>
            <a:ext cx="1198148" cy="2204988"/>
            <a:chOff x="10466695" y="2648037"/>
            <a:chExt cx="1198148" cy="2204988"/>
          </a:xfrm>
        </p:grpSpPr>
        <p:sp>
          <p:nvSpPr>
            <p:cNvPr id="11" name="TextBox 10">
              <a:extLst>
                <a:ext uri="{FF2B5EF4-FFF2-40B4-BE49-F238E27FC236}">
                  <a16:creationId xmlns:a16="http://schemas.microsoft.com/office/drawing/2014/main" id="{09F5AE19-B4E3-7788-F25F-CDA80D596DAF}"/>
                </a:ext>
              </a:extLst>
            </p:cNvPr>
            <p:cNvSpPr txBox="1"/>
            <p:nvPr/>
          </p:nvSpPr>
          <p:spPr>
            <a:xfrm>
              <a:off x="10466695" y="33508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11087" y="48530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14125" y="26480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65769" y="2648037"/>
              <a:ext cx="0" cy="70277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a:off x="11065769" y="4255789"/>
              <a:ext cx="0" cy="58771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A14CB0E4-50EE-BC33-D522-BA673A585034}"/>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B78B639F-4A0E-E431-B35F-318766B737E1}"/>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A8073F0-DCD5-C223-CEF8-7415DDB54573}"/>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742FCF24-C589-040B-49DE-FE25FED1524C}"/>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1C7FD0FF-AFCE-0C71-440A-9E9BE5E98CD0}"/>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8798B6B4-AE43-3FB8-DC4E-5C45C5623BC4}"/>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88799C0D-92F3-5B61-7241-212144BA24E5}"/>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4946314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B46C6A4F-5D1D-2960-1456-4B1B280752CC}"/>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8605712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82</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59</cp:revision>
  <dcterms:created xsi:type="dcterms:W3CDTF">2022-07-04T13:32:28Z</dcterms:created>
  <dcterms:modified xsi:type="dcterms:W3CDTF">2023-03-05T14:49:33Z</dcterms:modified>
</cp:coreProperties>
</file>